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3A12224-2883-4632-83B2-ED9069300773}">
          <p14:sldIdLst>
            <p14:sldId id="2147475173"/>
            <p14:sldId id="2147475174"/>
            <p14:sldId id="2147475175"/>
            <p14:sldId id="2147475176"/>
            <p14:sldId id="2147475177"/>
            <p14:sldId id="2147475178"/>
          </p14:sldIdLst>
        </p14:section>
        <p14:section name="Brackets By Retailer By Sector" id="{7C2EBFA9-6F2E-473E-9337-9F1C4316AA4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3425758-6BE9-4DFD-8A9B-548E4CE77E16}">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6116834867528214E-3</c:v>
                </c:pt>
                <c:pt idx="2">
                  <c:v>8.0702682118940269E-3</c:v>
                </c:pt>
                <c:pt idx="3">
                  <c:v>8.9468476447193983E-4</c:v>
                </c:pt>
                <c:pt idx="4">
                  <c:v>8.7428205883108116E-3</c:v>
                </c:pt>
                <c:pt idx="5">
                  <c:v>1.56398152688262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2098172766123009E-2</c:v>
                </c:pt>
                <c:pt idx="2">
                  <c:v>5.7943830949497767E-2</c:v>
                </c:pt>
                <c:pt idx="3">
                  <c:v>4.2701024220851792E-2</c:v>
                </c:pt>
                <c:pt idx="4">
                  <c:v>6.5590918261191081E-2</c:v>
                </c:pt>
                <c:pt idx="5">
                  <c:v>1.242883612809747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2660402847081449E-2</c:v>
                </c:pt>
                <c:pt idx="2">
                  <c:v>7.7800554359570215E-2</c:v>
                </c:pt>
                <c:pt idx="3">
                  <c:v>8.6251124281583498E-3</c:v>
                </c:pt>
                <c:pt idx="4">
                  <c:v>8.4284223346426851E-2</c:v>
                </c:pt>
                <c:pt idx="5">
                  <c:v>1.50773960176768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6000614944831011E-3</c:v>
                </c:pt>
                <c:pt idx="2">
                  <c:v>4.0396976797371148E-3</c:v>
                </c:pt>
                <c:pt idx="3">
                  <c:v>1.5297670711260558E-3</c:v>
                </c:pt>
                <c:pt idx="4">
                  <c:v>5.097125324787418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7.5099891325612428E-2</c:v>
                </c:pt>
                <c:pt idx="3">
                  <c:v>2.8439093690432658E-2</c:v>
                </c:pt>
                <c:pt idx="4">
                  <c:v>9.4755564569076856E-2</c:v>
                </c:pt>
                <c:pt idx="5">
                  <c:v>5.9829808329517949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1340306491206915E-3</c:v>
                </c:pt>
                <c:pt idx="4">
                  <c:v>6.9850614376141835E-3</c:v>
                </c:pt>
                <c:pt idx="5">
                  <c:v>7.82848589355265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3569573067529505E-3</c:v>
                </c:pt>
                <c:pt idx="4">
                  <c:v>8.8979448050836435E-3</c:v>
                </c:pt>
                <c:pt idx="5">
                  <c:v>1.1891779993274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8781125735843562E-2</c:v>
                </c:pt>
                <c:pt idx="4">
                  <c:v>6.0196377689513372E-2</c:v>
                </c:pt>
                <c:pt idx="5">
                  <c:v>1.428090787289447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852628303944447E-2</c:v>
                </c:pt>
                <c:pt idx="4">
                  <c:v>6.857874750025944E-2</c:v>
                </c:pt>
                <c:pt idx="5">
                  <c:v>1.5251409655766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4086512150585349E-2</c:v>
                </c:pt>
                <c:pt idx="4">
                  <c:v>7.8569441983839847E-2</c:v>
                </c:pt>
                <c:pt idx="5">
                  <c:v>2.214295437656293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04955893087454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614462086261064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395925692415380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41640211301618E-3</c:v>
                </c:pt>
                <c:pt idx="4">
                  <c:v>6.0479859666981309E-3</c:v>
                </c:pt>
                <c:pt idx="5">
                  <c:v>6.942149899591783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896460218759088E-3</c:v>
                </c:pt>
                <c:pt idx="2">
                  <c:v>0.10153314288048981</c:v>
                </c:pt>
                <c:pt idx="3">
                  <c:v>0.20586609235711967</c:v>
                </c:pt>
                <c:pt idx="4">
                  <c:v>0.55518641870889496</c:v>
                </c:pt>
                <c:pt idx="5">
                  <c:v>0.10484566547132006</c:v>
                </c:pt>
                <c:pt idx="6">
                  <c:v>2.897903456029966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3856141960207543E-4</c:v>
                </c:pt>
                <c:pt idx="1">
                  <c:v>1.5620317363869789E-3</c:v>
                </c:pt>
                <c:pt idx="2">
                  <c:v>5.554790142341344E-3</c:v>
                </c:pt>
                <c:pt idx="3">
                  <c:v>3.3668785487451447E-2</c:v>
                </c:pt>
                <c:pt idx="4">
                  <c:v>0.88843076945420352</c:v>
                </c:pt>
                <c:pt idx="5">
                  <c:v>7.02450617600147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450492937243368E-3</c:v>
                </c:pt>
                <c:pt idx="1">
                  <c:v>2.2320532191512647E-3</c:v>
                </c:pt>
                <c:pt idx="2">
                  <c:v>5.5221708815645486E-3</c:v>
                </c:pt>
                <c:pt idx="3">
                  <c:v>3.2054568203037939E-2</c:v>
                </c:pt>
                <c:pt idx="4">
                  <c:v>0.84684811308442187</c:v>
                </c:pt>
                <c:pt idx="5">
                  <c:v>0.11209804531810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7239854391077266E-2</c:v>
                </c:pt>
                <c:pt idx="4">
                  <c:v>0.86683859195054513</c:v>
                </c:pt>
                <c:pt idx="5">
                  <c:v>8.535866903762184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993279684305E-3</c:v>
                </c:pt>
                <c:pt idx="1">
                  <c:v>0.10379758187685387</c:v>
                </c:pt>
                <c:pt idx="2">
                  <c:v>1.3305784201201484E-2</c:v>
                </c:pt>
                <c:pt idx="3">
                  <c:v>0.39967783872269125</c:v>
                </c:pt>
                <c:pt idx="4">
                  <c:v>0.46495170435034044</c:v>
                </c:pt>
                <c:pt idx="5">
                  <c:v>1.679849152094452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685896170947494E-3</c:v>
                </c:pt>
                <c:pt idx="1">
                  <c:v>0.10381350294445126</c:v>
                </c:pt>
                <c:pt idx="2">
                  <c:v>1.3298932772208446E-2</c:v>
                </c:pt>
                <c:pt idx="3">
                  <c:v>0.39976047211771548</c:v>
                </c:pt>
                <c:pt idx="4">
                  <c:v>0.46489119167635218</c:v>
                </c:pt>
                <c:pt idx="5">
                  <c:v>1.676731087217775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5488425883166584E-3</c:v>
                </c:pt>
                <c:pt idx="3">
                  <c:v>2.3581214999405342E-3</c:v>
                </c:pt>
                <c:pt idx="4">
                  <c:v>8.1259512449830124E-3</c:v>
                </c:pt>
                <c:pt idx="5">
                  <c:v>4.01291823705098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3834329314389404E-3</c:v>
                </c:pt>
                <c:pt idx="3">
                  <c:v>2.7907734094205897E-3</c:v>
                </c:pt>
                <c:pt idx="4">
                  <c:v>9.616844874752466E-3</c:v>
                </c:pt>
                <c:pt idx="5">
                  <c:v>4.74918086723829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5349158368287267E-3</c:v>
                </c:pt>
                <c:pt idx="3">
                  <c:v>2.0579282678446667E-3</c:v>
                </c:pt>
                <c:pt idx="4">
                  <c:v>9.3310180115548213E-3</c:v>
                </c:pt>
                <c:pt idx="5">
                  <c:v>6.357870587301926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6.7284193029580148E-3</c:v>
                </c:pt>
                <c:pt idx="3">
                  <c:v>4.5983785590323631E-3</c:v>
                </c:pt>
                <c:pt idx="4">
                  <c:v>1.0324609479951303E-2</c:v>
                </c:pt>
                <c:pt idx="5">
                  <c:v>5.908285486872186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6650478069491103E-3</c:v>
                </c:pt>
                <c:pt idx="2">
                  <c:v>6.1156789289999458E-3</c:v>
                </c:pt>
                <c:pt idx="3">
                  <c:v>4.5068776053448561E-3</c:v>
                </c:pt>
                <c:pt idx="4">
                  <c:v>6.9227904018521035E-3</c:v>
                </c:pt>
                <c:pt idx="5">
                  <c:v>1.311800928158303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123258798760101E-3</c:v>
                </c:pt>
                <c:pt idx="3">
                  <c:v>1.9586700359540744E-3</c:v>
                </c:pt>
                <c:pt idx="4">
                  <c:v>8.8809632822244248E-3</c:v>
                </c:pt>
                <c:pt idx="5">
                  <c:v>6.051217045025776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0098768442806877E-2</c:v>
                </c:pt>
                <c:pt idx="2">
                  <c:v>8.4792398808792319E-3</c:v>
                </c:pt>
                <c:pt idx="3">
                  <c:v>9.400241152511937E-4</c:v>
                </c:pt>
                <c:pt idx="4">
                  <c:v>9.1858747512901778E-3</c:v>
                </c:pt>
                <c:pt idx="5">
                  <c:v>1.643238389048437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6945014307579982E-3</c:v>
                </c:pt>
                <c:pt idx="2">
                  <c:v>8.5135503042751953E-3</c:v>
                </c:pt>
                <c:pt idx="3">
                  <c:v>3.2239414793789559E-3</c:v>
                </c:pt>
                <c:pt idx="4">
                  <c:v>1.0741776736682298E-2</c:v>
                </c:pt>
                <c:pt idx="5">
                  <c:v>6.7824876163939023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420847365305087E-2</c:v>
                </c:pt>
                <c:pt idx="1">
                  <c:v>7.2127406664898808E-2</c:v>
                </c:pt>
                <c:pt idx="2">
                  <c:v>0.12448922101236951</c:v>
                </c:pt>
                <c:pt idx="3">
                  <c:v>0.22470231121719719</c:v>
                </c:pt>
                <c:pt idx="4">
                  <c:v>0.38898127765908436</c:v>
                </c:pt>
                <c:pt idx="5">
                  <c:v>0.169391846515174</c:v>
                </c:pt>
                <c:pt idx="6">
                  <c:v>3.887089565971113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24311620664997E-3</c:v>
                </c:pt>
                <c:pt idx="1">
                  <c:v>3.5024228602596755E-2</c:v>
                </c:pt>
                <c:pt idx="2">
                  <c:v>0.12071333981810425</c:v>
                </c:pt>
                <c:pt idx="3">
                  <c:v>0.24391384913602115</c:v>
                </c:pt>
                <c:pt idx="4">
                  <c:v>0.40695634767233718</c:v>
                </c:pt>
                <c:pt idx="5">
                  <c:v>0.18782239145357105</c:v>
                </c:pt>
                <c:pt idx="6">
                  <c:v>6.474121553031037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5255679109854054E-3</c:v>
                </c:pt>
                <c:pt idx="4">
                  <c:v>8.094831054777785E-3</c:v>
                </c:pt>
                <c:pt idx="5">
                  <c:v>5.55081993361669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2878102429301417E-3</c:v>
                </c:pt>
                <c:pt idx="1">
                  <c:v>3.3746952717115544E-2</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476399280447082E-3</c:v>
                </c:pt>
                <c:pt idx="4">
                  <c:v>9.1668879613909376E-3</c:v>
                </c:pt>
                <c:pt idx="5">
                  <c:v>7.84933633845890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129731068865128E-3</c:v>
                </c:pt>
                <c:pt idx="1">
                  <c:v>2.9687248740982775E-2</c:v>
                </c:pt>
                <c:pt idx="2">
                  <c:v>0.12761672668444915</c:v>
                </c:pt>
                <c:pt idx="3">
                  <c:v>0.2547365973255013</c:v>
                </c:pt>
                <c:pt idx="4">
                  <c:v>0.39683477834621461</c:v>
                </c:pt>
                <c:pt idx="5">
                  <c:v>0.17961729434078061</c:v>
                </c:pt>
                <c:pt idx="6">
                  <c:v>4.2943814551850553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3.1926492326954012E-3</c:v>
                </c:pt>
                <c:pt idx="3">
                  <c:v>2.1819403811060714E-3</c:v>
                </c:pt>
                <c:pt idx="4">
                  <c:v>4.8990491005152931E-3</c:v>
                </c:pt>
                <c:pt idx="5">
                  <c:v>2.803493997158453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0925001263606613E-3</c:v>
                </c:pt>
                <c:pt idx="4">
                  <c:v>1.1738217493863482E-2</c:v>
                </c:pt>
                <c:pt idx="5">
                  <c:v>7.790917106233211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584762365277406</c:v>
                </c:pt>
                <c:pt idx="4">
                  <c:v>2.2392250263764742E-2</c:v>
                </c:pt>
                <c:pt idx="5">
                  <c:v>0.48755572297648175</c:v>
                </c:pt>
                <c:pt idx="6">
                  <c:v>3.995413378428749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8.82440708968630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8018187685461738</c:v>
                </c:pt>
                <c:pt idx="4">
                  <c:v>1.6386580516175052E-2</c:v>
                </c:pt>
                <c:pt idx="5">
                  <c:v>0.49161168223958929</c:v>
                </c:pt>
                <c:pt idx="6">
                  <c:v>1.181986038961826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00031105406566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9576427524467293</c:v>
                </c:pt>
                <c:pt idx="4">
                  <c:v>2.5567123997860344E-2</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117633613877683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674173673050519E-3</c:v>
                </c:pt>
                <c:pt idx="1">
                  <c:v>4.9921609106733524E-2</c:v>
                </c:pt>
                <c:pt idx="2">
                  <c:v>3.6855960605703302E-3</c:v>
                </c:pt>
                <c:pt idx="3">
                  <c:v>0.44228751521352899</c:v>
                </c:pt>
                <c:pt idx="4">
                  <c:v>0.48691224316865089</c:v>
                </c:pt>
                <c:pt idx="5">
                  <c:v>1.542561908321125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168140222272406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7.2318959519803473E-3</c:v>
                </c:pt>
                <c:pt idx="1">
                  <c:v>4.329334864300062E-2</c:v>
                </c:pt>
                <c:pt idx="2">
                  <c:v>0.11709217419730092</c:v>
                </c:pt>
                <c:pt idx="3">
                  <c:v>0.24465734611122858</c:v>
                </c:pt>
                <c:pt idx="4">
                  <c:v>0.39320893464598827</c:v>
                </c:pt>
                <c:pt idx="5">
                  <c:v>0.19339064677164633</c:v>
                </c:pt>
                <c:pt idx="6">
                  <c:v>1.125653678854936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7586891112466138E-3</c:v>
                </c:pt>
                <c:pt idx="1">
                  <c:v>4.9937524365497463E-2</c:v>
                </c:pt>
                <c:pt idx="2">
                  <c:v>3.6831885564629794E-3</c:v>
                </c:pt>
                <c:pt idx="3">
                  <c:v>0.44236697687901727</c:v>
                </c:pt>
                <c:pt idx="4">
                  <c:v>0.48682638770879361</c:v>
                </c:pt>
                <c:pt idx="5">
                  <c:v>1.54272333789821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168891632263417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1006066755415164E-2</c:v>
                </c:pt>
                <c:pt idx="3">
                  <c:v>2.6441561849660927E-2</c:v>
                </c:pt>
                <c:pt idx="4">
                  <c:v>8.8039606848534527E-2</c:v>
                </c:pt>
                <c:pt idx="5">
                  <c:v>3.889885955327180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468357751020842</c:v>
                </c:pt>
                <c:pt idx="2">
                  <c:v>0.23538969436701587</c:v>
                </c:pt>
                <c:pt idx="3">
                  <c:v>0.11727718156320037</c:v>
                </c:pt>
                <c:pt idx="4">
                  <c:v>0.26925060975128168</c:v>
                </c:pt>
                <c:pt idx="5">
                  <c:v>0.23036885781261315</c:v>
                </c:pt>
                <c:pt idx="6">
                  <c:v>8.778814038047288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7.8311404423753145E-2</c:v>
                </c:pt>
                <c:pt idx="3">
                  <c:v>1.8882348219866989E-2</c:v>
                </c:pt>
                <c:pt idx="4">
                  <c:v>7.9747482769148073E-2</c:v>
                </c:pt>
                <c:pt idx="5">
                  <c:v>5.151538746637596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8.5517319788469048E-2</c:v>
                </c:pt>
                <c:pt idx="2">
                  <c:v>0.17813299245834574</c:v>
                </c:pt>
                <c:pt idx="3">
                  <c:v>0.21442455324174367</c:v>
                </c:pt>
                <c:pt idx="4">
                  <c:v>0.33445746283714922</c:v>
                </c:pt>
                <c:pt idx="5">
                  <c:v>0.187036354194513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9352859898126727E-2</c:v>
                </c:pt>
                <c:pt idx="3">
                  <c:v>4.056330411108755E-2</c:v>
                </c:pt>
                <c:pt idx="4">
                  <c:v>9.1037794309395265E-2</c:v>
                </c:pt>
                <c:pt idx="5">
                  <c:v>4.323960295438646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5549056946025795E-2</c:v>
                </c:pt>
                <c:pt idx="2">
                  <c:v>4.2170352249504398E-2</c:v>
                </c:pt>
                <c:pt idx="3">
                  <c:v>0.31160187823845797</c:v>
                </c:pt>
                <c:pt idx="4">
                  <c:v>0.55257620984660882</c:v>
                </c:pt>
                <c:pt idx="5">
                  <c:v>5.808488462802301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7.3217106994800949E-3</c:v>
                </c:pt>
                <c:pt idx="2">
                  <c:v>5.1675689328723453E-3</c:v>
                </c:pt>
                <c:pt idx="3">
                  <c:v>3.8081791029285724E-3</c:v>
                </c:pt>
                <c:pt idx="4">
                  <c:v>5.8495849615591159E-3</c:v>
                </c:pt>
                <c:pt idx="5">
                  <c:v>1.108433225674986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4146627060464827E-3</c:v>
                </c:pt>
                <c:pt idx="5">
                  <c:v>4.78608412707870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7204326300153358E-2</c:v>
                </c:pt>
                <c:pt idx="2">
                  <c:v>4.8559042899347739E-2</c:v>
                </c:pt>
                <c:pt idx="3">
                  <c:v>0.24618674300182219</c:v>
                </c:pt>
                <c:pt idx="4">
                  <c:v>0.60115421813792924</c:v>
                </c:pt>
                <c:pt idx="5">
                  <c:v>5.689418618521502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4.7848491834714662E-3</c:v>
                </c:pt>
                <c:pt idx="5">
                  <c:v>5.56124633252818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329388935039661E-2</c:v>
                </c:pt>
                <c:pt idx="2">
                  <c:v>7.2610312083333933E-2</c:v>
                </c:pt>
                <c:pt idx="3">
                  <c:v>0.29727869587744465</c:v>
                </c:pt>
                <c:pt idx="4">
                  <c:v>0.5592381183173375</c:v>
                </c:pt>
                <c:pt idx="5">
                  <c:v>5.042558302015595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6.737071715712026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0188612710984894E-3</c:v>
                </c:pt>
                <c:pt idx="1">
                  <c:v>9.185168059964095E-3</c:v>
                </c:pt>
                <c:pt idx="2">
                  <c:v>9.6053077373854767E-2</c:v>
                </c:pt>
                <c:pt idx="3">
                  <c:v>0.127049310736117</c:v>
                </c:pt>
                <c:pt idx="4">
                  <c:v>0.3821431582164922</c:v>
                </c:pt>
                <c:pt idx="5">
                  <c:v>0.3825504243424734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4975365598015995E-3</c:v>
                </c:pt>
                <c:pt idx="1">
                  <c:v>2.6598041864621942E-3</c:v>
                </c:pt>
                <c:pt idx="2">
                  <c:v>8.6510670533308409E-2</c:v>
                </c:pt>
                <c:pt idx="3">
                  <c:v>0.12974197681813054</c:v>
                </c:pt>
                <c:pt idx="4">
                  <c:v>0.431716533043907</c:v>
                </c:pt>
                <c:pt idx="5">
                  <c:v>0.346873478858390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5.1585917127786388E-4</c:v>
                </c:pt>
                <c:pt idx="2">
                  <c:v>8.4537935788821073E-2</c:v>
                </c:pt>
                <c:pt idx="3">
                  <c:v>0.13253867325736088</c:v>
                </c:pt>
                <c:pt idx="4">
                  <c:v>0.37859105977403795</c:v>
                </c:pt>
                <c:pt idx="5">
                  <c:v>0.4033481057244097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0810000882490144E-3</c:v>
                </c:pt>
                <c:pt idx="1">
                  <c:v>3.2119265828930418E-2</c:v>
                </c:pt>
                <c:pt idx="2">
                  <c:v>0.11348140494937228</c:v>
                </c:pt>
                <c:pt idx="3">
                  <c:v>0.23589599597480859</c:v>
                </c:pt>
                <c:pt idx="4">
                  <c:v>0.40814205728880376</c:v>
                </c:pt>
                <c:pt idx="5">
                  <c:v>0.20556364616861456</c:v>
                </c:pt>
                <c:pt idx="6">
                  <c:v>7.166297012213648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6819792720813648E-2</c:v>
                </c:pt>
                <c:pt idx="1">
                  <c:v>6.6370813398914985E-2</c:v>
                </c:pt>
                <c:pt idx="2">
                  <c:v>0.2125129507988319</c:v>
                </c:pt>
                <c:pt idx="3">
                  <c:v>0.48743383700972776</c:v>
                </c:pt>
                <c:pt idx="4">
                  <c:v>0.20735317089297553</c:v>
                </c:pt>
                <c:pt idx="5">
                  <c:v>9.509435178736114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30936481089647E-2</c:v>
                </c:pt>
                <c:pt idx="1">
                  <c:v>4.5885342498018893E-2</c:v>
                </c:pt>
                <c:pt idx="2">
                  <c:v>0.19124469261645943</c:v>
                </c:pt>
                <c:pt idx="3">
                  <c:v>0.50343710515048379</c:v>
                </c:pt>
                <c:pt idx="4">
                  <c:v>0.2325703370616464</c:v>
                </c:pt>
                <c:pt idx="5">
                  <c:v>1.17315861923018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548095006001869E-2</c:v>
                </c:pt>
                <c:pt idx="1">
                  <c:v>6.8189233962195048E-2</c:v>
                </c:pt>
                <c:pt idx="2">
                  <c:v>0.22875689942069607</c:v>
                </c:pt>
                <c:pt idx="3">
                  <c:v>0.46899938383941098</c:v>
                </c:pt>
                <c:pt idx="4">
                  <c:v>0.19053599834963247</c:v>
                </c:pt>
                <c:pt idx="5">
                  <c:v>1.397038942206357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0187568750277387E-3</c:v>
                </c:pt>
                <c:pt idx="2">
                  <c:v>7.1716732875305694E-2</c:v>
                </c:pt>
                <c:pt idx="3">
                  <c:v>0.18235048082072933</c:v>
                </c:pt>
                <c:pt idx="4">
                  <c:v>0.58286701673784502</c:v>
                </c:pt>
                <c:pt idx="5">
                  <c:v>0.15702225463134503</c:v>
                </c:pt>
                <c:pt idx="6">
                  <c:v>3.851930377276612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2.1035385751206645E-3</c:v>
                </c:pt>
                <c:pt idx="2">
                  <c:v>9.2177410380318181E-2</c:v>
                </c:pt>
                <c:pt idx="3">
                  <c:v>0.14424491130230155</c:v>
                </c:pt>
                <c:pt idx="4">
                  <c:v>0.56687151041154993</c:v>
                </c:pt>
                <c:pt idx="5">
                  <c:v>0.1937222447665026</c:v>
                </c:pt>
                <c:pt idx="6">
                  <c:v>7.2957935325007519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2901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2805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649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7597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062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981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29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2187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6770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60795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3027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908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21851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4862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4668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0199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844645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9241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6582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9053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74509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9279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3686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5005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5913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1396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9546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2573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22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49342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5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12630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14058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6808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5427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9045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95446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02378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42696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9431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79539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5161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415992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299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59875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805025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5847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21445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30415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63995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10395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204974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60363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462734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7328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48160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459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573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722701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5243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324131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5439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6302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991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062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0537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741</Words>
  <Application>Microsoft Office PowerPoint</Application>
  <PresentationFormat>On-screen Show (16:9)</PresentationFormat>
  <Paragraphs>1379</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5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